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63" r:id="rId4"/>
    <p:sldId id="258" r:id="rId5"/>
    <p:sldId id="260" r:id="rId6"/>
    <p:sldId id="259" r:id="rId7"/>
    <p:sldId id="261" r:id="rId8"/>
    <p:sldId id="262" r:id="rId9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72" d="100"/>
          <a:sy n="72" d="100"/>
        </p:scale>
        <p:origin x="206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D47CCD-CD66-4590-BD4D-98E1006161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AA1507A-773D-49EB-B967-EFC7BB4AF7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41A7DB-06D7-4339-AB8A-0A31B758CD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6903-4027-4BE5-9D99-D925E7E4559C}" type="datetimeFigureOut">
              <a:rPr lang="en-AU" smtClean="0"/>
              <a:t>26/08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B30A6E-9637-49CF-A3E3-A09E7A09E3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DC7FA8-EBB5-42F4-9B9C-4D0ACC0AC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952156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2C7345-0792-4FB4-9760-A47C9FA189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CCA0F4-3077-42C2-900E-AF4245F3B6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27AE06-8244-4450-90E9-479E203357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6903-4027-4BE5-9D99-D925E7E4559C}" type="datetimeFigureOut">
              <a:rPr lang="en-AU" smtClean="0"/>
              <a:t>26/08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5F6F21-9364-485E-B367-FB78E7AAE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831F39-DD8F-4709-89EE-CD1136316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399077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F0CD4A5-6210-4EFF-92A9-1F890FD71F4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54D4A1-C771-4089-B3F0-857881D492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26D66F-E3A9-4A75-8ACE-816CBC8088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6903-4027-4BE5-9D99-D925E7E4559C}" type="datetimeFigureOut">
              <a:rPr lang="en-AU" smtClean="0"/>
              <a:t>26/08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2AB593-0A50-4A61-9B05-C51C6C43BC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015F6F-2CFA-4F83-929B-D4DBDFAA5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196870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3A76CB-EBDA-4427-AF81-079FE01910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7A5E9C-EBDF-4B16-908E-BD5D86770F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42488A-A0DB-4565-AD7D-EC4CA5F1FA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6903-4027-4BE5-9D99-D925E7E4559C}" type="datetimeFigureOut">
              <a:rPr lang="en-AU" smtClean="0"/>
              <a:t>26/08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2F1148-6AE6-4375-89D4-2BCE5C0282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950121-9A3B-4754-BC1B-FADAB19FEC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567630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BB0BF5-39ED-40E2-9254-C3929689EB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3C0CE2-D46B-4044-8666-3B91D735EB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C54A67-D9C5-49E8-98E6-D199A4D5F1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6903-4027-4BE5-9D99-D925E7E4559C}" type="datetimeFigureOut">
              <a:rPr lang="en-AU" smtClean="0"/>
              <a:t>26/08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5A6B2E-69A9-42F6-A97B-D755280525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84EF0A-E585-401D-84EE-B3FF956E6A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511831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57D895-9ADA-4B42-A5F1-21EA344FF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2F2E7B-3C3F-46CE-9E64-89B48187BD8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D6C647-557E-4DF2-9B11-31E17DC0EE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D0DD63-FBB5-4062-8100-FC9930C4CE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6903-4027-4BE5-9D99-D925E7E4559C}" type="datetimeFigureOut">
              <a:rPr lang="en-AU" smtClean="0"/>
              <a:t>26/08/20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1D8712-0C45-4EF9-A187-532C1CB1A8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EAC417-3D0B-46BD-B6F9-BC03404115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117693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D5CC35-F433-4E70-9F88-EEDB92DA4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213BE0-B2BA-42CA-802C-2CBC6463AD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7FA5685-E6F0-4BEB-B35D-84C6AB313C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82744D-FD08-43C5-BE29-74509803F4B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8049E86-4B80-4F0D-A085-D0B5950CF33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99816CD-A87B-4F4B-BEB7-3567C78040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6903-4027-4BE5-9D99-D925E7E4559C}" type="datetimeFigureOut">
              <a:rPr lang="en-AU" smtClean="0"/>
              <a:t>26/08/2021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2B458AC-717F-40C9-BC20-2BFA3582E2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0135E5A-BF26-45F3-8D30-0DBED9C968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335665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181C35-EF95-4905-A856-B85036C62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41951-2533-44D1-A57E-76FDF2D74A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6903-4027-4BE5-9D99-D925E7E4559C}" type="datetimeFigureOut">
              <a:rPr lang="en-AU" smtClean="0"/>
              <a:t>26/08/2021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ABDF4F-8B24-4BE6-8F0B-E7FF6DB18B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960232-3EA2-400A-A6E9-501ED20C10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339683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D52C0CA-736A-43FB-AA74-0007E1D8E8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6903-4027-4BE5-9D99-D925E7E4559C}" type="datetimeFigureOut">
              <a:rPr lang="en-AU" smtClean="0"/>
              <a:t>26/08/2021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B71B2E-57AE-4674-B50D-EF05FA65E2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B7DF60-7FF3-4615-9EB6-D0E6793103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951538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E03C7-3300-4799-ABAC-833832A0F8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BA3177-A0D5-4AC9-9CD0-440F18AE93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F9E3DC-D1FB-44FF-BB82-C7FD27C940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E0BE18-736A-4335-B4AA-6D1B090FD5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6903-4027-4BE5-9D99-D925E7E4559C}" type="datetimeFigureOut">
              <a:rPr lang="en-AU" smtClean="0"/>
              <a:t>26/08/20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BE3C4B-5894-4E4F-B606-9FE26C2557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704DEB-1830-44BC-B602-87301946C7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7710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66A659-5597-4D8D-81D3-F1AA24962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7307162-FADD-41EA-A52D-8B28359B87E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0FC73F-1C18-478A-8A63-6BE04B8970F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3CD4B2-06C4-43AB-9161-F9298C69EE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6903-4027-4BE5-9D99-D925E7E4559C}" type="datetimeFigureOut">
              <a:rPr lang="en-AU" smtClean="0"/>
              <a:t>26/08/20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D1C499-75B5-4929-92DE-A6C96B056B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993869-6ABE-456B-97FA-D2B0FF5D10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512740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77E04C6-C0C4-462A-8CA7-0436A56C5A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71846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1" imgH="411" progId="TCLayout.ActiveDocument.1">
                  <p:embed/>
                </p:oleObj>
              </mc:Choice>
              <mc:Fallback>
                <p:oleObj name="think-cell Slide" r:id="rId14" imgW="411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18E2E43-3163-4B88-92D7-169ABCDBC8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539799-75AF-4FC2-B844-E12CAECE5B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28C095-AEE1-44C5-A935-0309BA2E52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286903-4027-4BE5-9D99-D925E7E4559C}" type="datetimeFigureOut">
              <a:rPr lang="en-AU" smtClean="0"/>
              <a:t>26/08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019942-87B6-4A62-B4F2-00FCB0A723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A9F875-76CE-47EB-A7F7-5028D90CB9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AC3B9C-215F-434D-A8B4-AD5454E98C9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20659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rainfall-in-serengeti.herokuapp.com/" TargetMode="Externa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D9E0BA-1326-4510-820C-CD2ECA81A9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4425" y="0"/>
            <a:ext cx="9144000" cy="1195143"/>
          </a:xfrm>
          <a:solidFill>
            <a:schemeClr val="bg2">
              <a:lumMod val="10000"/>
              <a:alpha val="69000"/>
            </a:schemeClr>
          </a:solidFill>
        </p:spPr>
        <p:txBody>
          <a:bodyPr/>
          <a:lstStyle/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WA Final Projec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44ED4F6-4202-4D9A-A2C6-2F214F6780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14425" y="1195143"/>
            <a:ext cx="9144000" cy="1405182"/>
          </a:xfrm>
          <a:solidFill>
            <a:schemeClr val="bg2">
              <a:lumMod val="10000"/>
              <a:alpha val="69000"/>
            </a:schemeClr>
          </a:solidFill>
        </p:spPr>
        <p:txBody>
          <a:bodyPr>
            <a:normAutofit/>
          </a:bodyPr>
          <a:lstStyle/>
          <a:p>
            <a:r>
              <a:rPr lang="en-AU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y of different rainfall station data in predicting flood events in the Serengeti</a:t>
            </a:r>
          </a:p>
          <a:p>
            <a:endParaRPr lang="en-AU" sz="3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54722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C9258C-9B97-455E-AA69-E80BCFC1DB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68888"/>
            <a:ext cx="10382250" cy="1427060"/>
          </a:xfrm>
          <a:solidFill>
            <a:schemeClr val="bg2">
              <a:lumMod val="10000"/>
              <a:alpha val="69000"/>
            </a:schemeClr>
          </a:solidFill>
          <a:ln w="15875">
            <a:noFill/>
          </a:ln>
        </p:spPr>
        <p:txBody>
          <a:bodyPr/>
          <a:lstStyle/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67C0E3-B035-4D77-8D5E-8AF855DBC6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995949"/>
            <a:ext cx="10382250" cy="2866104"/>
          </a:xfrm>
          <a:solidFill>
            <a:schemeClr val="bg2">
              <a:lumMod val="10000"/>
              <a:alpha val="69000"/>
            </a:schemeClr>
          </a:solidFill>
        </p:spPr>
        <p:txBody>
          <a:bodyPr>
            <a:normAutofit/>
          </a:bodyPr>
          <a:lstStyle/>
          <a:p>
            <a:r>
              <a:rPr lang="en-US" sz="3200" b="0" i="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 analysis of environmental data using machine learning models as a predictor for flooding events in the Serengeti to answer the following questions.</a:t>
            </a:r>
          </a:p>
          <a:p>
            <a:r>
              <a:rPr lang="en-GB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were able to source historic rainfall data from 4 weather stations and a downstream river level monitoring station.</a:t>
            </a:r>
            <a:endParaRPr lang="en-AU" sz="3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58650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CAC6C6-8A87-483E-A955-4BFD1C4722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0716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C9258C-9B97-455E-AA69-E80BCFC1DB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564127"/>
            <a:ext cx="10382249" cy="1428750"/>
          </a:xfrm>
          <a:solidFill>
            <a:schemeClr val="bg2">
              <a:lumMod val="10000"/>
              <a:alpha val="69000"/>
            </a:schemeClr>
          </a:solidFill>
        </p:spPr>
        <p:txBody>
          <a:bodyPr vert="horz"/>
          <a:lstStyle/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stions</a:t>
            </a:r>
            <a:r>
              <a:rPr lang="en-AU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C2291FB-6DB5-40AB-8482-B13651102D2A}"/>
              </a:ext>
            </a:extLst>
          </p:cNvPr>
          <p:cNvSpPr txBox="1">
            <a:spLocks/>
          </p:cNvSpPr>
          <p:nvPr/>
        </p:nvSpPr>
        <p:spPr>
          <a:xfrm>
            <a:off x="0" y="1979611"/>
            <a:ext cx="10382250" cy="4314261"/>
          </a:xfrm>
          <a:prstGeom prst="rect">
            <a:avLst/>
          </a:prstGeom>
          <a:solidFill>
            <a:schemeClr val="bg2">
              <a:lumMod val="10000"/>
              <a:alpha val="69000"/>
            </a:schemeClr>
          </a:solidFill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are the most effective methods of choosing a location for a rainfall station? </a:t>
            </a:r>
          </a:p>
          <a:p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many rainfall stations do we need to have an accurate prediction?</a:t>
            </a:r>
          </a:p>
          <a:p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the accuracy across different Machine Learning models?</a:t>
            </a:r>
          </a:p>
          <a:p>
            <a:r>
              <a:rPr lang="en-GB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it possible to use Machine Learning to predict the risk of downstream flooding events from real time rainfall data?</a:t>
            </a:r>
            <a:endParaRPr lang="en-AU" sz="3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09883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54E3EE-3A4A-4D84-8724-84B009C16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59055"/>
            <a:ext cx="10432026" cy="1427061"/>
          </a:xfrm>
          <a:solidFill>
            <a:schemeClr val="bg2">
              <a:lumMod val="10000"/>
              <a:alpha val="69000"/>
            </a:schemeClr>
          </a:solidFill>
        </p:spPr>
        <p:txBody>
          <a:bodyPr/>
          <a:lstStyle/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Preparation		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BD7442-EA95-4A4D-BE3A-3D6DE5BA6F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986116"/>
            <a:ext cx="10432026" cy="2885769"/>
          </a:xfrm>
          <a:solidFill>
            <a:schemeClr val="bg2">
              <a:lumMod val="10000"/>
              <a:alpha val="69000"/>
            </a:schemeClr>
          </a:solidFill>
        </p:spPr>
        <p:txBody>
          <a:bodyPr>
            <a:normAutofit lnSpcReduction="10000"/>
          </a:bodyPr>
          <a:lstStyle/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pothetical data to give us an idea of rainfall in wet and dry seasons</a:t>
            </a:r>
          </a:p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was imported and cleaned using Pandas</a:t>
            </a:r>
          </a:p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is then exported to SQLite where it can be called with flask APIs for display in our HTML</a:t>
            </a:r>
          </a:p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visualise our data, primarily used Tableau and Leaflet &amp; </a:t>
            </a:r>
            <a:r>
              <a:rPr lang="en-AU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Query</a:t>
            </a:r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728284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4CBBB9-A67C-44AE-8DC3-6F7DC9A0D3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986115"/>
            <a:ext cx="10402529" cy="3457254"/>
          </a:xfrm>
          <a:solidFill>
            <a:schemeClr val="bg2">
              <a:lumMod val="10000"/>
              <a:alpha val="69000"/>
            </a:schemeClr>
          </a:solidFill>
        </p:spPr>
        <p:txBody>
          <a:bodyPr>
            <a:normAutofit lnSpcReduction="10000"/>
          </a:bodyPr>
          <a:lstStyle/>
          <a:p>
            <a:r>
              <a:rPr lang="en-AU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istics Regression</a:t>
            </a:r>
          </a:p>
          <a:p>
            <a:pPr lvl="1"/>
            <a:r>
              <a:rPr lang="en-AU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change in model accuracy between base, RFECV (Select Features) and a Tuned Model using GSCV.</a:t>
            </a:r>
            <a:endParaRPr lang="en-AU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AU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ndom Forest</a:t>
            </a:r>
          </a:p>
          <a:p>
            <a:pPr lvl="1"/>
            <a:r>
              <a:rPr lang="en-AU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 accuracy with base model, but RFECV and GSCV comparable.</a:t>
            </a:r>
          </a:p>
          <a:p>
            <a:endParaRPr lang="en-AU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D394D47-926A-4E46-B1CD-C984CC0EE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59056"/>
            <a:ext cx="10402529" cy="1427060"/>
          </a:xfrm>
          <a:solidFill>
            <a:schemeClr val="bg2">
              <a:lumMod val="10000"/>
              <a:alpha val="69000"/>
            </a:schemeClr>
          </a:solidFill>
        </p:spPr>
        <p:txBody>
          <a:bodyPr/>
          <a:lstStyle/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chine Learning Models		</a:t>
            </a:r>
          </a:p>
        </p:txBody>
      </p:sp>
    </p:spTree>
    <p:extLst>
      <p:ext uri="{BB962C8B-B14F-4D97-AF65-F5344CB8AC3E}">
        <p14:creationId xmlns:p14="http://schemas.microsoft.com/office/powerpoint/2010/main" val="42239420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F7BE0B-0885-4A5C-B84F-F59957F94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60439"/>
            <a:ext cx="10432026" cy="1446161"/>
          </a:xfrm>
          <a:solidFill>
            <a:schemeClr val="bg2">
              <a:lumMod val="10000"/>
              <a:alpha val="69000"/>
            </a:schemeClr>
          </a:solidFill>
        </p:spPr>
        <p:txBody>
          <a:bodyPr/>
          <a:lstStyle/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loyment to Heroku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FDBB7D-5A84-490D-A73F-2D04F16C97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2006600"/>
            <a:ext cx="10432026" cy="2844801"/>
          </a:xfrm>
          <a:solidFill>
            <a:schemeClr val="bg2">
              <a:lumMod val="10000"/>
              <a:alpha val="69000"/>
            </a:schemeClr>
          </a:solidFill>
        </p:spPr>
        <p:txBody>
          <a:bodyPr/>
          <a:lstStyle/>
          <a:p>
            <a:pPr marL="0" indent="0">
              <a:buNone/>
            </a:pPr>
            <a:endParaRPr lang="en-AU" b="0" i="0" u="none" strike="noStrike" dirty="0">
              <a:solidFill>
                <a:srgbClr val="0563C1"/>
              </a:solidFill>
              <a:effectLst/>
              <a:latin typeface="Slack-Lato"/>
              <a:hlinkClick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indent="0">
              <a:buNone/>
            </a:pPr>
            <a:r>
              <a:rPr lang="en-AU" b="0" i="0" u="none" strike="noStrike" dirty="0">
                <a:solidFill>
                  <a:schemeClr val="bg1"/>
                </a:solidFill>
                <a:effectLst/>
                <a:latin typeface="Slack-Lat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rainfall-in-serengeti.herokuapp.com/</a:t>
            </a:r>
            <a:endParaRPr lang="en-A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0275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95A3A5-F6F7-4A0D-A899-39645EC0F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50606"/>
            <a:ext cx="10402529" cy="1425677"/>
          </a:xfrm>
          <a:solidFill>
            <a:schemeClr val="bg2">
              <a:lumMod val="10000"/>
              <a:alpha val="69000"/>
            </a:schemeClr>
          </a:solidFill>
        </p:spPr>
        <p:txBody>
          <a:bodyPr/>
          <a:lstStyle/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s</a:t>
            </a:r>
            <a:r>
              <a:rPr lang="en-AU" dirty="0"/>
              <a:t>	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8B749E-C60C-488C-A80D-853ACA85F7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976283"/>
            <a:ext cx="10402529" cy="2905435"/>
          </a:xfrm>
          <a:solidFill>
            <a:schemeClr val="bg2">
              <a:lumMod val="10000"/>
              <a:alpha val="69000"/>
            </a:schemeClr>
          </a:solidFill>
        </p:spPr>
        <p:txBody>
          <a:bodyPr>
            <a:normAutofit fontScale="92500" lnSpcReduction="20000"/>
          </a:bodyPr>
          <a:lstStyle/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thwhile to use testing data on a smaller proportion of low risk data</a:t>
            </a:r>
          </a:p>
          <a:p>
            <a:endParaRPr lang="en-A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ufficient data because only one wet and one dry season was assumed.</a:t>
            </a:r>
          </a:p>
          <a:p>
            <a:endParaRPr lang="en-A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having more than one weather station essential?</a:t>
            </a:r>
          </a:p>
          <a:p>
            <a:pPr lvl="1"/>
            <a:r>
              <a:rPr lang="en-A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gency? Risk mitigation? Maintenance?</a:t>
            </a:r>
          </a:p>
          <a:p>
            <a:endParaRPr lang="en-A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29086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702BF-DEE8-486D-BA3A-0A83CAE020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51938"/>
            <a:ext cx="10422194" cy="1424346"/>
          </a:xfrm>
        </p:spPr>
        <p:txBody>
          <a:bodyPr/>
          <a:lstStyle/>
          <a:p>
            <a:r>
              <a:rPr lang="en-AU" dirty="0">
                <a:latin typeface="Arial" panose="020B0604020202020204" pitchFamily="34" charset="0"/>
                <a:cs typeface="Arial" panose="020B0604020202020204" pitchFamily="34" charset="0"/>
              </a:rPr>
              <a:t>Future Considerations	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05DF20-8EC0-4249-B557-801E229081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976284"/>
            <a:ext cx="10422194" cy="3608439"/>
          </a:xfrm>
        </p:spPr>
        <p:txBody>
          <a:bodyPr>
            <a:normAutofit fontScale="92500" lnSpcReduction="20000"/>
          </a:bodyPr>
          <a:lstStyle/>
          <a:p>
            <a:r>
              <a:rPr lang="en-AU" dirty="0">
                <a:latin typeface="Arial" panose="020B0604020202020204" pitchFamily="34" charset="0"/>
                <a:cs typeface="Arial" panose="020B0604020202020204" pitchFamily="34" charset="0"/>
              </a:rPr>
              <a:t>With more time</a:t>
            </a:r>
          </a:p>
          <a:p>
            <a:endParaRPr lang="en-A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AU" dirty="0">
                <a:latin typeface="Arial" panose="020B0604020202020204" pitchFamily="34" charset="0"/>
                <a:cs typeface="Arial" panose="020B0604020202020204" pitchFamily="34" charset="0"/>
              </a:rPr>
              <a:t>Data from multiple seasons can be used to train our ML models.</a:t>
            </a:r>
          </a:p>
          <a:p>
            <a:pPr lvl="1"/>
            <a:endParaRPr lang="en-A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AU" dirty="0">
                <a:latin typeface="Arial" panose="020B0604020202020204" pitchFamily="34" charset="0"/>
                <a:cs typeface="Arial" panose="020B0604020202020204" pitchFamily="34" charset="0"/>
              </a:rPr>
              <a:t>Elevation, ground and ambient temperature, barometric fluctuations can be used as variables to train our ML models for more accurate predictions.</a:t>
            </a:r>
          </a:p>
          <a:p>
            <a:pPr lvl="1"/>
            <a:endParaRPr lang="en-A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AU" dirty="0">
                <a:latin typeface="Arial" panose="020B0604020202020204" pitchFamily="34" charset="0"/>
                <a:cs typeface="Arial" panose="020B0604020202020204" pitchFamily="34" charset="0"/>
              </a:rPr>
              <a:t>Test for other water systems. Does the model work elsewhere?</a:t>
            </a:r>
          </a:p>
          <a:p>
            <a:pPr lvl="1"/>
            <a:endParaRPr lang="en-A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AU" dirty="0">
                <a:latin typeface="Arial" panose="020B0604020202020204" pitchFamily="34" charset="0"/>
                <a:cs typeface="Arial" panose="020B0604020202020204" pitchFamily="34" charset="0"/>
              </a:rPr>
              <a:t>Alternatively, can other catchments provide even more variability in conditions which will result in a more accurate model? Or provide additional insight to geographic factors which may affect water level readings?</a:t>
            </a:r>
          </a:p>
          <a:p>
            <a:pPr marL="457200" lvl="1" indent="0">
              <a:buNone/>
            </a:pPr>
            <a:endParaRPr lang="en-A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58663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6401375[[fn=Madison]]</Template>
  <TotalTime>622</TotalTime>
  <Words>364</Words>
  <Application>Microsoft Office PowerPoint</Application>
  <PresentationFormat>Widescreen</PresentationFormat>
  <Paragraphs>40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Calibri</vt:lpstr>
      <vt:lpstr>Calibri Light</vt:lpstr>
      <vt:lpstr>Slack-Lato</vt:lpstr>
      <vt:lpstr>Office Theme</vt:lpstr>
      <vt:lpstr>think-cell Slide</vt:lpstr>
      <vt:lpstr>UWA Final Project</vt:lpstr>
      <vt:lpstr>About</vt:lpstr>
      <vt:lpstr>Questions </vt:lpstr>
      <vt:lpstr>Data Preparation  </vt:lpstr>
      <vt:lpstr>Machine Learning Models  </vt:lpstr>
      <vt:lpstr>Deployment to Heroku </vt:lpstr>
      <vt:lpstr>Conclusions </vt:lpstr>
      <vt:lpstr>Future Consideration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WA Final Project</dc:title>
  <dc:creator>Ewan 13</dc:creator>
  <cp:lastModifiedBy>Jack Pan</cp:lastModifiedBy>
  <cp:revision>7</cp:revision>
  <dcterms:created xsi:type="dcterms:W3CDTF">2021-08-19T13:24:41Z</dcterms:created>
  <dcterms:modified xsi:type="dcterms:W3CDTF">2021-08-26T09:18:40Z</dcterms:modified>
</cp:coreProperties>
</file>